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3" d="100"/>
          <a:sy n="73" d="100"/>
        </p:scale>
        <p:origin x="-222" y="21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9988" y="1243013"/>
            <a:ext cx="4457700" cy="3343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596" y="142852"/>
            <a:ext cx="8572560" cy="935534"/>
          </a:xfrm>
        </p:spPr>
        <p:txBody>
          <a:bodyPr>
            <a:noAutofit/>
          </a:bodyPr>
          <a:lstStyle/>
          <a:p>
            <a:r>
              <a:rPr lang="ru-RU" sz="2400" b="1" dirty="0"/>
              <a:t>РЕЙТИНГ МУНИЦИПАЛЬНЫХ ОБРАЗОВАНИЙ ПО УРОВНЮ ОТКРЫТОСТИ БЮДЖЕТНЫХ ДАННЫХ ЗА 2023 ГОД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539552" y="1078386"/>
            <a:ext cx="2352558" cy="5014910"/>
          </a:xfrm>
          <a:prstGeom prst="round2DiagRect">
            <a:avLst/>
          </a:prstGeom>
          <a:solidFill>
            <a:srgbClr val="006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</a:t>
            </a: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/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округ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арымский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раснокаменский  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район,</a:t>
            </a: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3275856" y="5949280"/>
            <a:ext cx="5328592" cy="765868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МО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275857" y="1048004"/>
            <a:ext cx="5328592" cy="4761992"/>
          </a:xfrm>
          <a:prstGeom prst="round2DiagRect">
            <a:avLst/>
          </a:prstGeom>
          <a:solidFill>
            <a:srgbClr val="333399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</a:t>
            </a:r>
            <a:endParaRPr lang="ru-RU" sz="10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 район,  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ек-Заводский округ, Балей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 округ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Забайкаль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округ, Красночикойский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Могочинский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-Заводский округ, Ононский округ, Оловяннинский район, Приаргунский округ, Петровск-Забайкальский район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ретенский район, 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екминский район, Тунгокоченский округ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Чернышевский район, Читин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Шилкинский район,           п. Агинское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Петровск-Забайкальский, г.Чита,                              п. ЗАТО Горный</a:t>
            </a: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</TotalTime>
  <Words>138</Words>
  <Application>Microsoft Office PowerPoint</Application>
  <PresentationFormat>Экран (4:3)</PresentationFormat>
  <Paragraphs>34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Тема Office</vt:lpstr>
      <vt:lpstr>think-cell Slide</vt:lpstr>
      <vt:lpstr>РЕЙТИНГ МУНИЦИПАЛЬНЫХ ОБРАЗОВАНИЙ ПО УРОВНЮ ОТКРЫТОСТИ БЮДЖЕТНЫХ ДАННЫХ ЗА 2023 ГОД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UserX</cp:lastModifiedBy>
  <cp:revision>17</cp:revision>
  <cp:lastPrinted>2023-06-08T02:51:56Z</cp:lastPrinted>
  <dcterms:created xsi:type="dcterms:W3CDTF">2022-06-27T05:53:54Z</dcterms:created>
  <dcterms:modified xsi:type="dcterms:W3CDTF">2025-03-01T01:09:26Z</dcterms:modified>
</cp:coreProperties>
</file>